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5"/>
  </p:notesMasterIdLst>
  <p:handoutMasterIdLst>
    <p:handoutMasterId r:id="rId46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084" r:id="rId17"/>
    <p:sldId id="2145706078" r:id="rId18"/>
    <p:sldId id="2145706079" r:id="rId19"/>
    <p:sldId id="2145706087" r:id="rId20"/>
    <p:sldId id="2145706133" r:id="rId21"/>
    <p:sldId id="2145706151" r:id="rId22"/>
    <p:sldId id="2145706055" r:id="rId23"/>
    <p:sldId id="2145706059" r:id="rId24"/>
    <p:sldId id="2145706071" r:id="rId25"/>
    <p:sldId id="2145706139" r:id="rId26"/>
    <p:sldId id="2145706140" r:id="rId27"/>
    <p:sldId id="2145706152" r:id="rId28"/>
    <p:sldId id="2145706070" r:id="rId29"/>
    <p:sldId id="2145706141" r:id="rId30"/>
    <p:sldId id="2145706153" r:id="rId31"/>
    <p:sldId id="2145706074" r:id="rId32"/>
    <p:sldId id="2145706143" r:id="rId33"/>
    <p:sldId id="2145706154" r:id="rId34"/>
    <p:sldId id="2145706088" r:id="rId35"/>
    <p:sldId id="2145706119" r:id="rId36"/>
    <p:sldId id="2145706089" r:id="rId37"/>
    <p:sldId id="2145706144" r:id="rId38"/>
    <p:sldId id="2145706155" r:id="rId39"/>
    <p:sldId id="2145706112" r:id="rId40"/>
    <p:sldId id="2145706145" r:id="rId41"/>
    <p:sldId id="2145706149" r:id="rId42"/>
    <p:sldId id="2145706138" r:id="rId43"/>
    <p:sldId id="2145705823" r:id="rId44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31" autoAdjust="0"/>
    <p:restoredTop sz="73148" autoAdjust="0"/>
  </p:normalViewPr>
  <p:slideViewPr>
    <p:cSldViewPr snapToGrid="0">
      <p:cViewPr varScale="1">
        <p:scale>
          <a:sx n="84" d="100"/>
          <a:sy n="84" d="100"/>
        </p:scale>
        <p:origin x="158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6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7918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2" r="6302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AD6CB-F2FB-C3FD-CDF1-8C4F1DC16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3990" y="841267"/>
            <a:ext cx="8564019" cy="587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2" t="5735" r="6847" b="35299"/>
          <a:stretch/>
        </p:blipFill>
        <p:spPr>
          <a:xfrm>
            <a:off x="361778" y="1011000"/>
            <a:ext cx="4343630" cy="52818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Ho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E8F313-0A17-CEA7-2A3A-8A80918C6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74221" y="807657"/>
            <a:ext cx="7643556" cy="60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7" r="10595"/>
          <a:stretch/>
        </p:blipFill>
        <p:spPr>
          <a:xfrm>
            <a:off x="84668" y="656469"/>
            <a:ext cx="5353554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irect Messa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D6A8D9-8823-1615-A55D-A2E0C38897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098000"/>
            <a:ext cx="12071623" cy="4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4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Mee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71D15B-5D8F-2162-0E2F-56D16BD93F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47" y="913112"/>
            <a:ext cx="10537505" cy="594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3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5" r="6955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Manage Tick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13B142-0681-F8B1-FE15-8C0D3E0D9A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041" y="832904"/>
            <a:ext cx="10543918" cy="602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01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680405e6-b67e-4188-afe9-1f6c4cc802d0"/>
    <ds:schemaRef ds:uri="5a0a5fd8-e554-4dec-ae9e-1a78583e7e41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413</TotalTime>
  <Words>194</Words>
  <Application>Microsoft Office PowerPoint</Application>
  <PresentationFormat>Widescreen</PresentationFormat>
  <Paragraphs>57</Paragraphs>
  <Slides>4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4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UI Design – Calendar</vt:lpstr>
      <vt:lpstr>UI Design – Calendar</vt:lpstr>
      <vt:lpstr>UI Design – Calendar</vt:lpstr>
      <vt:lpstr>UI Design – Activity </vt:lpstr>
      <vt:lpstr>Database Entity – Dashboard</vt:lpstr>
      <vt:lpstr>Database Design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Database Design – Home</vt:lpstr>
      <vt:lpstr>UI Design – Direct Messages</vt:lpstr>
      <vt:lpstr>Database Entity – Direct Messages</vt:lpstr>
      <vt:lpstr>Database Design – Direct Messages</vt:lpstr>
      <vt:lpstr>UI Design – Meeting</vt:lpstr>
      <vt:lpstr>Database Entity – Meeting</vt:lpstr>
      <vt:lpstr>Database Design – Meeting</vt:lpstr>
      <vt:lpstr>UI Design – Files</vt:lpstr>
      <vt:lpstr>UI Design – Files</vt:lpstr>
      <vt:lpstr>UI Design – Manage ticket</vt:lpstr>
      <vt:lpstr>Database Entity – Manage Ticket</vt:lpstr>
      <vt:lpstr>Database Design – Manage Ticket</vt:lpstr>
      <vt:lpstr>UI Design – Preferences</vt:lpstr>
      <vt:lpstr>Database Entity – Preferences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8</cp:revision>
  <dcterms:created xsi:type="dcterms:W3CDTF">2023-03-02T06:20:39Z</dcterms:created>
  <dcterms:modified xsi:type="dcterms:W3CDTF">2024-06-26T06:4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